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  <p:sldMasterId id="2147483675" r:id="rId3"/>
  </p:sldMasterIdLst>
  <p:notesMasterIdLst>
    <p:notesMasterId r:id="rId23"/>
  </p:notesMasterIdLst>
  <p:handoutMasterIdLst>
    <p:handoutMasterId r:id="rId24"/>
  </p:handoutMasterIdLst>
  <p:sldIdLst>
    <p:sldId id="361" r:id="rId4"/>
    <p:sldId id="373" r:id="rId5"/>
    <p:sldId id="374" r:id="rId6"/>
    <p:sldId id="355" r:id="rId7"/>
    <p:sldId id="356" r:id="rId8"/>
    <p:sldId id="339" r:id="rId9"/>
    <p:sldId id="256" r:id="rId10"/>
    <p:sldId id="310" r:id="rId11"/>
    <p:sldId id="318" r:id="rId12"/>
    <p:sldId id="367" r:id="rId13"/>
    <p:sldId id="311" r:id="rId14"/>
    <p:sldId id="370" r:id="rId15"/>
    <p:sldId id="340" r:id="rId16"/>
    <p:sldId id="371" r:id="rId17"/>
    <p:sldId id="360" r:id="rId18"/>
    <p:sldId id="312" r:id="rId19"/>
    <p:sldId id="372" r:id="rId20"/>
    <p:sldId id="323" r:id="rId21"/>
    <p:sldId id="368" r:id="rId22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6" dt="2019-02-26T09:01:47.299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07" autoAdjust="0"/>
    <p:restoredTop sz="83897" autoAdjust="0"/>
  </p:normalViewPr>
  <p:slideViewPr>
    <p:cSldViewPr snapToObjects="1" showGuides="1">
      <p:cViewPr varScale="1">
        <p:scale>
          <a:sx n="88" d="100"/>
          <a:sy n="88" d="100"/>
        </p:scale>
        <p:origin x="1302" y="96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2-26T09:01:44.453" v="497"/>
      <pc:docMkLst>
        <pc:docMk/>
      </pc:docMkLst>
      <pc:sldChg chg="add del">
        <pc:chgData name="David Stevens" userId="73fe415a-d21a-4898-bfab-0e75d37181d7" providerId="ADAL" clId="{A55558DF-111D-4D77-9A1C-537E622CF8A6}" dt="2019-02-26T09:01:44.453" v="497"/>
        <pc:sldMkLst>
          <pc:docMk/>
          <pc:sldMk cId="3363243440" sldId="256"/>
        </pc:sldMkLst>
      </pc:sldChg>
      <pc:sldChg chg="addSp delSp modSp">
        <pc:chgData name="David Stevens" userId="73fe415a-d21a-4898-bfab-0e75d37181d7" providerId="ADAL" clId="{A55558DF-111D-4D77-9A1C-537E622CF8A6}" dt="2019-01-11T14:19:52.945" v="324" actId="1076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addSp modSp">
        <pc:chgData name="David Stevens" userId="73fe415a-d21a-4898-bfab-0e75d37181d7" providerId="ADAL" clId="{A55558DF-111D-4D77-9A1C-537E622CF8A6}" dt="2019-01-02T07:39:15.337" v="31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  <pc:grpChg chg="add">
          <ac:chgData name="David Stevens" userId="73fe415a-d21a-4898-bfab-0e75d37181d7" providerId="ADAL" clId="{A55558DF-111D-4D77-9A1C-537E622CF8A6}" dt="2019-01-02T07:39:15.337" v="314"/>
          <ac:grpSpMkLst>
            <pc:docMk/>
            <pc:sldMk cId="2452756145" sldId="361"/>
            <ac:grpSpMk id="9" creationId="{1A4C4365-A03D-4DE7-B62D-6058EC35DBD2}"/>
          </ac:grpSpMkLst>
        </pc:gr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2/26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2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February 26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26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26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26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February 26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February 26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February 26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46D9B5-EE5B-461D-8DD5-E780D6C437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5049" y="-1"/>
            <a:ext cx="11655352" cy="8229600"/>
          </a:xfrm>
          <a:prstGeom prst="rect">
            <a:avLst/>
          </a:prstGeom>
        </p:spPr>
      </p:pic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D00227A-FCE5-4C90-8598-4398E14BD07B}"/>
              </a:ext>
            </a:extLst>
          </p:cNvPr>
          <p:cNvSpPr>
            <a:spLocks noChangeAspect="1"/>
          </p:cNvSpPr>
          <p:nvPr userDrawn="1"/>
        </p:nvSpPr>
        <p:spPr bwMode="hidden">
          <a:xfrm>
            <a:off x="-1568" y="1"/>
            <a:ext cx="8303762" cy="8229600"/>
          </a:xfrm>
          <a:custGeom>
            <a:avLst/>
            <a:gdLst>
              <a:gd name="connsiteX0" fmla="*/ 0 w 13880700"/>
              <a:gd name="connsiteY0" fmla="*/ 0 h 13806941"/>
              <a:gd name="connsiteX1" fmla="*/ 6983768 w 13880700"/>
              <a:gd name="connsiteY1" fmla="*/ 0 h 13806941"/>
              <a:gd name="connsiteX2" fmla="*/ 13880700 w 13880700"/>
              <a:gd name="connsiteY2" fmla="*/ 6893251 h 13806941"/>
              <a:gd name="connsiteX3" fmla="*/ 6983768 w 13880700"/>
              <a:gd name="connsiteY3" fmla="*/ 13806941 h 13806941"/>
              <a:gd name="connsiteX4" fmla="*/ 0 w 13880700"/>
              <a:gd name="connsiteY4" fmla="*/ 13806941 h 13806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80700" h="13806941">
                <a:moveTo>
                  <a:pt x="0" y="0"/>
                </a:moveTo>
                <a:lnTo>
                  <a:pt x="6983768" y="0"/>
                </a:lnTo>
                <a:cubicBezTo>
                  <a:pt x="10806594" y="0"/>
                  <a:pt x="13880700" y="3045499"/>
                  <a:pt x="13880700" y="6893251"/>
                </a:cubicBezTo>
                <a:cubicBezTo>
                  <a:pt x="13880700" y="10758888"/>
                  <a:pt x="10806594" y="13806941"/>
                  <a:pt x="6983768" y="13806941"/>
                </a:cubicBezTo>
                <a:lnTo>
                  <a:pt x="0" y="13806941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680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074840"/>
            <a:ext cx="68580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session title her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824197"/>
            <a:ext cx="6858000" cy="662203"/>
          </a:xfrm>
        </p:spPr>
        <p:txBody>
          <a:bodyPr>
            <a:noAutofit/>
          </a:bodyPr>
          <a:lstStyle>
            <a:lvl1pPr marL="0" indent="0" algn="l">
              <a:spcBef>
                <a:spcPts val="120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nter speaker name here</a:t>
            </a:r>
          </a:p>
        </p:txBody>
      </p:sp>
      <p:sp>
        <p:nvSpPr>
          <p:cNvPr id="47" name="Freeform 9">
            <a:extLst>
              <a:ext uri="{FF2B5EF4-FFF2-40B4-BE49-F238E27FC236}">
                <a16:creationId xmlns:a16="http://schemas.microsoft.com/office/drawing/2014/main" id="{2A7B0FDF-BC58-414A-8AAC-3B176242203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 dirty="0"/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3DC4A21B-A3B7-4535-89AB-D180D8D5FD35}"/>
              </a:ext>
            </a:extLst>
          </p:cNvPr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3C352BD-2464-4B6E-9C77-D29B31BC99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6739333"/>
            <a:ext cx="3160262" cy="8976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6C9D15-3463-4931-AE12-2BCC2AEC3138}"/>
              </a:ext>
            </a:extLst>
          </p:cNvPr>
          <p:cNvSpPr txBox="1"/>
          <p:nvPr userDrawn="1"/>
        </p:nvSpPr>
        <p:spPr>
          <a:xfrm>
            <a:off x="667328" y="5739190"/>
            <a:ext cx="61121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echCom24 2019: Building Digital Muscle</a:t>
            </a:r>
          </a:p>
        </p:txBody>
      </p:sp>
    </p:spTree>
    <p:extLst>
      <p:ext uri="{BB962C8B-B14F-4D97-AF65-F5344CB8AC3E}">
        <p14:creationId xmlns:p14="http://schemas.microsoft.com/office/powerpoint/2010/main" val="305589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55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 b="0"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 b="0"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 b="0"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 b="0"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 b="0"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58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551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99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61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February 26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© 2018 DXC Technology Company. All rights reserved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384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314578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26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41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9760A60-B77A-4E3E-818A-8DC6893B6C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4630398" cy="8229599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268274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26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015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64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2531900" y="2726171"/>
            <a:ext cx="9566600" cy="2717182"/>
          </a:xfrm>
          <a:prstGeom prst="rect">
            <a:avLst/>
          </a:prstGeom>
        </p:spPr>
      </p:pic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610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February 26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26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70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>
          <p15:clr>
            <a:srgbClr val="F26B43"/>
          </p15:clr>
        </p15:guide>
        <p15:guide id="2" pos="4608">
          <p15:clr>
            <a:srgbClr val="F26B43"/>
          </p15:clr>
        </p15:guide>
        <p15:guide id="3" pos="432">
          <p15:clr>
            <a:srgbClr val="F26B43"/>
          </p15:clr>
        </p15:guide>
        <p15:guide id="4" pos="3024">
          <p15:clr>
            <a:srgbClr val="F26B43"/>
          </p15:clr>
        </p15:guide>
        <p15:guide id="5" pos="3312">
          <p15:clr>
            <a:srgbClr val="F26B43"/>
          </p15:clr>
        </p15:guide>
        <p15:guide id="6" pos="4464">
          <p15:clr>
            <a:srgbClr val="F26B43"/>
          </p15:clr>
        </p15:guide>
        <p15:guide id="7" pos="4752">
          <p15:clr>
            <a:srgbClr val="F26B43"/>
          </p15:clr>
        </p15:guide>
        <p15:guide id="8" pos="5904">
          <p15:clr>
            <a:srgbClr val="F26B43"/>
          </p15:clr>
        </p15:guide>
        <p15:guide id="9" pos="6192">
          <p15:clr>
            <a:srgbClr val="F26B43"/>
          </p15:clr>
        </p15:guide>
        <p15:guide id="10" pos="7488">
          <p15:clr>
            <a:srgbClr val="F26B43"/>
          </p15:clr>
        </p15:guide>
        <p15:guide id="11" pos="8784">
          <p15:clr>
            <a:srgbClr val="F26B43"/>
          </p15:clr>
        </p15:guide>
        <p15:guide id="12" orient="horz" pos="1296">
          <p15:clr>
            <a:srgbClr val="F26B43"/>
          </p15:clr>
        </p15:guide>
        <p15:guide id="13" orient="horz" pos="4522">
          <p15:clr>
            <a:srgbClr val="F26B43"/>
          </p15:clr>
        </p15:guide>
        <p15:guide id="14" orient="horz" pos="48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E2D88B88-EB87-450B-9B8B-2468F02D6EAD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83" name="Freeform 74">
              <a:extLst>
                <a:ext uri="{FF2B5EF4-FFF2-40B4-BE49-F238E27FC236}">
                  <a16:creationId xmlns:a16="http://schemas.microsoft.com/office/drawing/2014/main" id="{3AEF8C74-EB68-4B88-9C22-AA4C03B78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75">
              <a:extLst>
                <a:ext uri="{FF2B5EF4-FFF2-40B4-BE49-F238E27FC236}">
                  <a16:creationId xmlns:a16="http://schemas.microsoft.com/office/drawing/2014/main" id="{3280DDCB-2F60-4BDC-B66E-7482245E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Oval 76">
              <a:extLst>
                <a:ext uri="{FF2B5EF4-FFF2-40B4-BE49-F238E27FC236}">
                  <a16:creationId xmlns:a16="http://schemas.microsoft.com/office/drawing/2014/main" id="{504758E2-D5B9-4780-976D-700733759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0" name="Freeform 58">
            <a:extLst>
              <a:ext uri="{FF2B5EF4-FFF2-40B4-BE49-F238E27FC236}">
                <a16:creationId xmlns:a16="http://schemas.microsoft.com/office/drawing/2014/main" id="{E74ABD01-0570-456D-A8E8-45DF7A6B7F3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E8910A1-8F2F-4EC2-A201-919A6CFD347F}"/>
              </a:ext>
            </a:extLst>
          </p:cNvPr>
          <p:cNvGrpSpPr/>
          <p:nvPr/>
        </p:nvGrpSpPr>
        <p:grpSpPr>
          <a:xfrm>
            <a:off x="10151202" y="3570522"/>
            <a:ext cx="4201433" cy="3100370"/>
            <a:chOff x="10151202" y="4002571"/>
            <a:chExt cx="4201433" cy="310037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A3ECA2-367C-45D5-8E97-02A886B9CC58}"/>
                </a:ext>
              </a:extLst>
            </p:cNvPr>
            <p:cNvGrpSpPr/>
            <p:nvPr/>
          </p:nvGrpSpPr>
          <p:grpSpPr>
            <a:xfrm>
              <a:off x="11615659" y="4002571"/>
              <a:ext cx="2736976" cy="3100370"/>
              <a:chOff x="11615659" y="4002571"/>
              <a:chExt cx="2736976" cy="3100370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11615659" y="4435400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olution</a:t>
                </a: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Oval 70"/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/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0" name="TextBox 59"/>
          <p:cNvSpPr txBox="1"/>
          <p:nvPr/>
        </p:nvSpPr>
        <p:spPr>
          <a:xfrm>
            <a:off x="786453" y="615847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97357" y="61071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7230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4575040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5980168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41094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4606234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187708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09EAFB27-0CFC-4B73-95E1-2FCB76355124}"/>
              </a:ext>
            </a:extLst>
          </p:cNvPr>
          <p:cNvGrpSpPr/>
          <p:nvPr/>
        </p:nvGrpSpPr>
        <p:grpSpPr>
          <a:xfrm>
            <a:off x="2394053" y="4569219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419004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69F6E1-B8F5-4039-B96D-710A2CF7A21C}"/>
              </a:ext>
            </a:extLst>
          </p:cNvPr>
          <p:cNvGrpSpPr/>
          <p:nvPr/>
        </p:nvGrpSpPr>
        <p:grpSpPr>
          <a:xfrm>
            <a:off x="3550072" y="3853351"/>
            <a:ext cx="3732943" cy="2636278"/>
            <a:chOff x="3550072" y="4285400"/>
            <a:chExt cx="3732943" cy="2636278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gital Blueprint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E4D7428-A9B1-40AF-9A9F-39C4282D2495}"/>
              </a:ext>
            </a:extLst>
          </p:cNvPr>
          <p:cNvGrpSpPr/>
          <p:nvPr/>
        </p:nvGrpSpPr>
        <p:grpSpPr>
          <a:xfrm>
            <a:off x="8191609" y="3364279"/>
            <a:ext cx="2520758" cy="3594267"/>
            <a:chOff x="8191609" y="3796328"/>
            <a:chExt cx="2520758" cy="3594267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a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ent CMO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96EF05A-7A56-47C6-8C27-6D7A572EA097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C1782920-7785-4BC6-A082-281E79A73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55B0E42-E1F7-464E-8052-1711A87EA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82">
              <a:extLst>
                <a:ext uri="{FF2B5EF4-FFF2-40B4-BE49-F238E27FC236}">
                  <a16:creationId xmlns:a16="http://schemas.microsoft.com/office/drawing/2014/main" id="{CC286DAF-DD95-49A0-8CE8-DCE3D823E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819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58" grpId="0"/>
      <p:bldP spid="51" grpId="0"/>
      <p:bldP spid="5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31975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21855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64154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474637" y="63641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387905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gital Blueprint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abler</a:t>
                </a: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92B7D2F-D04D-45A7-BD73-28675D3D311F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115" name="Freeform 74">
              <a:extLst>
                <a:ext uri="{FF2B5EF4-FFF2-40B4-BE49-F238E27FC236}">
                  <a16:creationId xmlns:a16="http://schemas.microsoft.com/office/drawing/2014/main" id="{DEA5EAD1-F637-4219-B3F1-B0766E033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5">
              <a:extLst>
                <a:ext uri="{FF2B5EF4-FFF2-40B4-BE49-F238E27FC236}">
                  <a16:creationId xmlns:a16="http://schemas.microsoft.com/office/drawing/2014/main" id="{082D0C18-6018-43D5-B3E1-C5276EAFB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Oval 76">
              <a:extLst>
                <a:ext uri="{FF2B5EF4-FFF2-40B4-BE49-F238E27FC236}">
                  <a16:creationId xmlns:a16="http://schemas.microsoft.com/office/drawing/2014/main" id="{4BE1CF45-D850-4D12-9AD9-373F82500E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8" name="Freeform 58">
            <a:extLst>
              <a:ext uri="{FF2B5EF4-FFF2-40B4-BE49-F238E27FC236}">
                <a16:creationId xmlns:a16="http://schemas.microsoft.com/office/drawing/2014/main" id="{1239A33F-204E-4B47-93E1-2F2063AC09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1F62B7F4-9FBA-4D78-95B3-5CD4BF3D6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47DF68FB-1F53-419E-9297-CFD3C625ED61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121" name="Freeform 80">
              <a:extLst>
                <a:ext uri="{FF2B5EF4-FFF2-40B4-BE49-F238E27FC236}">
                  <a16:creationId xmlns:a16="http://schemas.microsoft.com/office/drawing/2014/main" id="{1F1295EC-3405-4AFC-A7DF-68E2DE535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81">
              <a:extLst>
                <a:ext uri="{FF2B5EF4-FFF2-40B4-BE49-F238E27FC236}">
                  <a16:creationId xmlns:a16="http://schemas.microsoft.com/office/drawing/2014/main" id="{0A5A2B5D-A641-465A-9B30-B77776CD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ectangle 82">
              <a:extLst>
                <a:ext uri="{FF2B5EF4-FFF2-40B4-BE49-F238E27FC236}">
                  <a16:creationId xmlns:a16="http://schemas.microsoft.com/office/drawing/2014/main" id="{6282B921-1BA3-49F8-A07D-AEB5FB0E3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84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EF6D0573-6E9A-43B1-9799-132B4142D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0200" y="648838"/>
            <a:ext cx="12892922" cy="1417636"/>
          </a:xfrm>
        </p:spPr>
        <p:txBody>
          <a:bodyPr>
            <a:normAutofit/>
          </a:bodyPr>
          <a:lstStyle/>
          <a:p>
            <a:r>
              <a:rPr lang="en-GB" sz="3600" dirty="0"/>
              <a:t>Client Goals to Outcomes with DXC Digital Explorer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242F2EF6-F2FE-4EA9-B261-5C5A8AD46AB6}"/>
              </a:ext>
            </a:extLst>
          </p:cNvPr>
          <p:cNvGrpSpPr/>
          <p:nvPr/>
        </p:nvGrpSpPr>
        <p:grpSpPr>
          <a:xfrm>
            <a:off x="7900059" y="1486030"/>
            <a:ext cx="4598172" cy="3071996"/>
            <a:chOff x="7990532" y="-2272963"/>
            <a:chExt cx="4538069" cy="4538069"/>
          </a:xfrm>
        </p:grpSpPr>
        <p:sp>
          <p:nvSpPr>
            <p:cNvPr id="149" name="Partial Circle 148">
              <a:extLst>
                <a:ext uri="{FF2B5EF4-FFF2-40B4-BE49-F238E27FC236}">
                  <a16:creationId xmlns:a16="http://schemas.microsoft.com/office/drawing/2014/main" id="{54DF1E55-DDAA-47A9-AD71-AB77D6C5D00A}"/>
                </a:ext>
              </a:extLst>
            </p:cNvPr>
            <p:cNvSpPr/>
            <p:nvPr/>
          </p:nvSpPr>
          <p:spPr>
            <a:xfrm>
              <a:off x="7990532" y="-2272963"/>
              <a:ext cx="4538069" cy="4538069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Partial Circle 149">
              <a:extLst>
                <a:ext uri="{FF2B5EF4-FFF2-40B4-BE49-F238E27FC236}">
                  <a16:creationId xmlns:a16="http://schemas.microsoft.com/office/drawing/2014/main" id="{63FA2C58-DB42-4944-932A-85955572273E}"/>
                </a:ext>
              </a:extLst>
            </p:cNvPr>
            <p:cNvSpPr/>
            <p:nvPr/>
          </p:nvSpPr>
          <p:spPr>
            <a:xfrm>
              <a:off x="8597878" y="-1665617"/>
              <a:ext cx="3323377" cy="33233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Partial Circle 150">
              <a:extLst>
                <a:ext uri="{FF2B5EF4-FFF2-40B4-BE49-F238E27FC236}">
                  <a16:creationId xmlns:a16="http://schemas.microsoft.com/office/drawing/2014/main" id="{C5FE6F8F-DA39-4CBE-9A27-72F9BEDEDB5E}"/>
                </a:ext>
              </a:extLst>
            </p:cNvPr>
            <p:cNvSpPr/>
            <p:nvPr/>
          </p:nvSpPr>
          <p:spPr>
            <a:xfrm>
              <a:off x="9039428" y="-1224067"/>
              <a:ext cx="2440277" cy="24402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AF7B25B-EA40-487B-9F75-0D369AC2F78F}"/>
              </a:ext>
            </a:extLst>
          </p:cNvPr>
          <p:cNvSpPr/>
          <p:nvPr/>
        </p:nvSpPr>
        <p:spPr>
          <a:xfrm>
            <a:off x="3915946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04F3C32-5880-4078-A585-2674D8D1D173}"/>
              </a:ext>
            </a:extLst>
          </p:cNvPr>
          <p:cNvSpPr/>
          <p:nvPr/>
        </p:nvSpPr>
        <p:spPr>
          <a:xfrm>
            <a:off x="440242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E86F0A2-407D-45E7-9B89-294866672A1C}"/>
              </a:ext>
            </a:extLst>
          </p:cNvPr>
          <p:cNvSpPr/>
          <p:nvPr/>
        </p:nvSpPr>
        <p:spPr>
          <a:xfrm>
            <a:off x="7406397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085E9E5-92C0-46EF-A5E7-F0B193764B7F}"/>
              </a:ext>
            </a:extLst>
          </p:cNvPr>
          <p:cNvSpPr/>
          <p:nvPr/>
        </p:nvSpPr>
        <p:spPr>
          <a:xfrm>
            <a:off x="10852603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18ED288F-531A-4593-A3F1-8D0243BFEF90}"/>
              </a:ext>
            </a:extLst>
          </p:cNvPr>
          <p:cNvSpPr/>
          <p:nvPr/>
        </p:nvSpPr>
        <p:spPr>
          <a:xfrm>
            <a:off x="440243" y="6301161"/>
            <a:ext cx="6833420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Workspaces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94666EE0-E32A-4720-A975-8825039CDF4F}"/>
              </a:ext>
            </a:extLst>
          </p:cNvPr>
          <p:cNvSpPr/>
          <p:nvPr/>
        </p:nvSpPr>
        <p:spPr>
          <a:xfrm>
            <a:off x="7401482" y="6301160"/>
            <a:ext cx="6788676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Roadmaps &amp; Solution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E337117C-2D7B-4E1B-BE4F-3B185CEF734B}"/>
              </a:ext>
            </a:extLst>
          </p:cNvPr>
          <p:cNvSpPr/>
          <p:nvPr/>
        </p:nvSpPr>
        <p:spPr>
          <a:xfrm rot="10800000">
            <a:off x="440242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9C1C95-C8A2-46BD-965E-0AF86C220C06}"/>
              </a:ext>
            </a:extLst>
          </p:cNvPr>
          <p:cNvSpPr txBox="1"/>
          <p:nvPr/>
        </p:nvSpPr>
        <p:spPr>
          <a:xfrm>
            <a:off x="595100" y="4847121"/>
            <a:ext cx="2974258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e all relevant client and industry information and upload into Digital Explorer Workspaces.</a:t>
            </a: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 the Client’s Digital Intent as smart connected content</a:t>
            </a: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7B05C02-D05B-4530-AE34-E04536E1144E}"/>
              </a:ext>
            </a:extLst>
          </p:cNvPr>
          <p:cNvSpPr/>
          <p:nvPr/>
        </p:nvSpPr>
        <p:spPr>
          <a:xfrm rot="10800000">
            <a:off x="3915946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E3A70A-62CD-4D8A-98E7-2CCFF6059DB2}"/>
              </a:ext>
            </a:extLst>
          </p:cNvPr>
          <p:cNvSpPr txBox="1"/>
          <p:nvPr/>
        </p:nvSpPr>
        <p:spPr>
          <a:xfrm>
            <a:off x="3965106" y="4927912"/>
            <a:ext cx="318565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 as a team to review and outline the DXC digital approach.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d recommendations 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eople and Solutions)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335486AB-9D5A-445F-9B92-D97AEA3D9F8E}"/>
              </a:ext>
            </a:extLst>
          </p:cNvPr>
          <p:cNvSpPr/>
          <p:nvPr/>
        </p:nvSpPr>
        <p:spPr>
          <a:xfrm rot="10800000">
            <a:off x="7401481" y="4832064"/>
            <a:ext cx="3283974" cy="1166520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22F9B-3DE6-4BBE-A248-EE05517DFB05}"/>
              </a:ext>
            </a:extLst>
          </p:cNvPr>
          <p:cNvSpPr txBox="1"/>
          <p:nvPr/>
        </p:nvSpPr>
        <p:spPr>
          <a:xfrm>
            <a:off x="7481368" y="4838243"/>
            <a:ext cx="312420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er team thinking into a DXC Digital Bluepri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rage the power of recommendations from all other blueprint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3985EBEF-92F7-47FD-9330-A80DBD1D068E}"/>
              </a:ext>
            </a:extLst>
          </p:cNvPr>
          <p:cNvSpPr/>
          <p:nvPr/>
        </p:nvSpPr>
        <p:spPr>
          <a:xfrm rot="10800000">
            <a:off x="10852603" y="4825782"/>
            <a:ext cx="3283974" cy="1173757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6260F4B6-6EB2-4AE4-9B3B-2666E5C096D5}"/>
              </a:ext>
            </a:extLst>
          </p:cNvPr>
          <p:cNvGrpSpPr/>
          <p:nvPr/>
        </p:nvGrpSpPr>
        <p:grpSpPr>
          <a:xfrm>
            <a:off x="4444827" y="3015631"/>
            <a:ext cx="2226213" cy="1539567"/>
            <a:chOff x="4385337" y="3015631"/>
            <a:chExt cx="2226213" cy="1539567"/>
          </a:xfrm>
        </p:grpSpPr>
        <p:sp>
          <p:nvSpPr>
            <p:cNvPr id="135" name="Freeform 65">
              <a:extLst>
                <a:ext uri="{FF2B5EF4-FFF2-40B4-BE49-F238E27FC236}">
                  <a16:creationId xmlns:a16="http://schemas.microsoft.com/office/drawing/2014/main" id="{F9347957-AE27-49AC-9AB3-1A98B89B5FB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54337" y="3015631"/>
              <a:ext cx="1155381" cy="1539567"/>
            </a:xfrm>
            <a:custGeom>
              <a:avLst/>
              <a:gdLst>
                <a:gd name="T0" fmla="*/ 432 w 864"/>
                <a:gd name="T1" fmla="*/ 0 h 1152"/>
                <a:gd name="T2" fmla="*/ 0 w 864"/>
                <a:gd name="T3" fmla="*/ 432 h 1152"/>
                <a:gd name="T4" fmla="*/ 240 w 864"/>
                <a:gd name="T5" fmla="*/ 819 h 1152"/>
                <a:gd name="T6" fmla="*/ 240 w 864"/>
                <a:gd name="T7" fmla="*/ 672 h 1152"/>
                <a:gd name="T8" fmla="*/ 624 w 864"/>
                <a:gd name="T9" fmla="*/ 672 h 1152"/>
                <a:gd name="T10" fmla="*/ 624 w 864"/>
                <a:gd name="T11" fmla="*/ 819 h 1152"/>
                <a:gd name="T12" fmla="*/ 864 w 864"/>
                <a:gd name="T13" fmla="*/ 432 h 1152"/>
                <a:gd name="T14" fmla="*/ 432 w 864"/>
                <a:gd name="T15" fmla="*/ 0 h 1152"/>
                <a:gd name="T16" fmla="*/ 432 w 864"/>
                <a:gd name="T17" fmla="*/ 528 h 1152"/>
                <a:gd name="T18" fmla="*/ 336 w 864"/>
                <a:gd name="T19" fmla="*/ 336 h 1152"/>
                <a:gd name="T20" fmla="*/ 528 w 864"/>
                <a:gd name="T21" fmla="*/ 336 h 1152"/>
                <a:gd name="T22" fmla="*/ 432 w 864"/>
                <a:gd name="T23" fmla="*/ 528 h 1152"/>
                <a:gd name="T24" fmla="*/ 624 w 864"/>
                <a:gd name="T25" fmla="*/ 819 h 1152"/>
                <a:gd name="T26" fmla="*/ 624 w 864"/>
                <a:gd name="T27" fmla="*/ 960 h 1152"/>
                <a:gd name="T28" fmla="*/ 432 w 864"/>
                <a:gd name="T29" fmla="*/ 1152 h 1152"/>
                <a:gd name="T30" fmla="*/ 240 w 864"/>
                <a:gd name="T31" fmla="*/ 960 h 1152"/>
                <a:gd name="T32" fmla="*/ 240 w 864"/>
                <a:gd name="T33" fmla="*/ 819 h 1152"/>
                <a:gd name="T34" fmla="*/ 432 w 864"/>
                <a:gd name="T35" fmla="*/ 864 h 1152"/>
                <a:gd name="T36" fmla="*/ 624 w 864"/>
                <a:gd name="T37" fmla="*/ 819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" h="1152">
                  <a:moveTo>
                    <a:pt x="432" y="0"/>
                  </a:moveTo>
                  <a:cubicBezTo>
                    <a:pt x="193" y="0"/>
                    <a:pt x="0" y="193"/>
                    <a:pt x="0" y="432"/>
                  </a:cubicBezTo>
                  <a:cubicBezTo>
                    <a:pt x="0" y="602"/>
                    <a:pt x="98" y="748"/>
                    <a:pt x="240" y="819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624" y="672"/>
                    <a:pt x="624" y="672"/>
                    <a:pt x="624" y="672"/>
                  </a:cubicBezTo>
                  <a:cubicBezTo>
                    <a:pt x="624" y="819"/>
                    <a:pt x="624" y="819"/>
                    <a:pt x="624" y="819"/>
                  </a:cubicBezTo>
                  <a:cubicBezTo>
                    <a:pt x="766" y="748"/>
                    <a:pt x="864" y="602"/>
                    <a:pt x="864" y="432"/>
                  </a:cubicBezTo>
                  <a:cubicBezTo>
                    <a:pt x="864" y="193"/>
                    <a:pt x="671" y="0"/>
                    <a:pt x="432" y="0"/>
                  </a:cubicBezTo>
                  <a:close/>
                  <a:moveTo>
                    <a:pt x="432" y="528"/>
                  </a:moveTo>
                  <a:cubicBezTo>
                    <a:pt x="336" y="336"/>
                    <a:pt x="336" y="336"/>
                    <a:pt x="336" y="336"/>
                  </a:cubicBezTo>
                  <a:cubicBezTo>
                    <a:pt x="528" y="336"/>
                    <a:pt x="528" y="336"/>
                    <a:pt x="528" y="336"/>
                  </a:cubicBezTo>
                  <a:lnTo>
                    <a:pt x="432" y="528"/>
                  </a:lnTo>
                  <a:close/>
                  <a:moveTo>
                    <a:pt x="624" y="819"/>
                  </a:moveTo>
                  <a:cubicBezTo>
                    <a:pt x="624" y="960"/>
                    <a:pt x="624" y="960"/>
                    <a:pt x="624" y="960"/>
                  </a:cubicBezTo>
                  <a:cubicBezTo>
                    <a:pt x="624" y="1066"/>
                    <a:pt x="538" y="1152"/>
                    <a:pt x="432" y="1152"/>
                  </a:cubicBezTo>
                  <a:cubicBezTo>
                    <a:pt x="326" y="1152"/>
                    <a:pt x="240" y="1066"/>
                    <a:pt x="240" y="960"/>
                  </a:cubicBezTo>
                  <a:cubicBezTo>
                    <a:pt x="240" y="819"/>
                    <a:pt x="240" y="819"/>
                    <a:pt x="240" y="819"/>
                  </a:cubicBezTo>
                  <a:cubicBezTo>
                    <a:pt x="298" y="848"/>
                    <a:pt x="363" y="864"/>
                    <a:pt x="432" y="864"/>
                  </a:cubicBezTo>
                  <a:cubicBezTo>
                    <a:pt x="501" y="864"/>
                    <a:pt x="566" y="848"/>
                    <a:pt x="624" y="8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9">
              <a:extLst>
                <a:ext uri="{FF2B5EF4-FFF2-40B4-BE49-F238E27FC236}">
                  <a16:creationId xmlns:a16="http://schemas.microsoft.com/office/drawing/2014/main" id="{6378E62C-6527-4F4E-BFA4-088DAF8E0F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85337" y="3302433"/>
              <a:ext cx="790335" cy="724860"/>
            </a:xfrm>
            <a:custGeom>
              <a:avLst/>
              <a:gdLst>
                <a:gd name="T0" fmla="*/ 576 w 1152"/>
                <a:gd name="T1" fmla="*/ 288 h 1056"/>
                <a:gd name="T2" fmla="*/ 768 w 1152"/>
                <a:gd name="T3" fmla="*/ 480 h 1056"/>
                <a:gd name="T4" fmla="*/ 768 w 1152"/>
                <a:gd name="T5" fmla="*/ 672 h 1056"/>
                <a:gd name="T6" fmla="*/ 576 w 1152"/>
                <a:gd name="T7" fmla="*/ 480 h 1056"/>
                <a:gd name="T8" fmla="*/ 384 w 1152"/>
                <a:gd name="T9" fmla="*/ 672 h 1056"/>
                <a:gd name="T10" fmla="*/ 384 w 1152"/>
                <a:gd name="T11" fmla="*/ 480 h 1056"/>
                <a:gd name="T12" fmla="*/ 576 w 1152"/>
                <a:gd name="T13" fmla="*/ 288 h 1056"/>
                <a:gd name="T14" fmla="*/ 720 w 1152"/>
                <a:gd name="T15" fmla="*/ 144 h 1056"/>
                <a:gd name="T16" fmla="*/ 576 w 1152"/>
                <a:gd name="T17" fmla="*/ 0 h 1056"/>
                <a:gd name="T18" fmla="*/ 432 w 1152"/>
                <a:gd name="T19" fmla="*/ 144 h 1056"/>
                <a:gd name="T20" fmla="*/ 576 w 1152"/>
                <a:gd name="T21" fmla="*/ 288 h 1056"/>
                <a:gd name="T22" fmla="*/ 720 w 1152"/>
                <a:gd name="T23" fmla="*/ 144 h 1056"/>
                <a:gd name="T24" fmla="*/ 336 w 1152"/>
                <a:gd name="T25" fmla="*/ 528 h 1056"/>
                <a:gd name="T26" fmla="*/ 192 w 1152"/>
                <a:gd name="T27" fmla="*/ 384 h 1056"/>
                <a:gd name="T28" fmla="*/ 48 w 1152"/>
                <a:gd name="T29" fmla="*/ 528 h 1056"/>
                <a:gd name="T30" fmla="*/ 192 w 1152"/>
                <a:gd name="T31" fmla="*/ 672 h 1056"/>
                <a:gd name="T32" fmla="*/ 336 w 1152"/>
                <a:gd name="T33" fmla="*/ 528 h 1056"/>
                <a:gd name="T34" fmla="*/ 328 w 1152"/>
                <a:gd name="T35" fmla="*/ 728 h 1056"/>
                <a:gd name="T36" fmla="*/ 192 w 1152"/>
                <a:gd name="T37" fmla="*/ 672 h 1056"/>
                <a:gd name="T38" fmla="*/ 0 w 1152"/>
                <a:gd name="T39" fmla="*/ 864 h 1056"/>
                <a:gd name="T40" fmla="*/ 0 w 1152"/>
                <a:gd name="T41" fmla="*/ 1056 h 1056"/>
                <a:gd name="T42" fmla="*/ 384 w 1152"/>
                <a:gd name="T43" fmla="*/ 1056 h 1056"/>
                <a:gd name="T44" fmla="*/ 384 w 1152"/>
                <a:gd name="T45" fmla="*/ 864 h 1056"/>
                <a:gd name="T46" fmla="*/ 192 w 1152"/>
                <a:gd name="T47" fmla="*/ 864 h 1056"/>
                <a:gd name="T48" fmla="*/ 328 w 1152"/>
                <a:gd name="T49" fmla="*/ 728 h 1056"/>
                <a:gd name="T50" fmla="*/ 1104 w 1152"/>
                <a:gd name="T51" fmla="*/ 528 h 1056"/>
                <a:gd name="T52" fmla="*/ 960 w 1152"/>
                <a:gd name="T53" fmla="*/ 384 h 1056"/>
                <a:gd name="T54" fmla="*/ 816 w 1152"/>
                <a:gd name="T55" fmla="*/ 528 h 1056"/>
                <a:gd name="T56" fmla="*/ 960 w 1152"/>
                <a:gd name="T57" fmla="*/ 672 h 1056"/>
                <a:gd name="T58" fmla="*/ 1104 w 1152"/>
                <a:gd name="T59" fmla="*/ 528 h 1056"/>
                <a:gd name="T60" fmla="*/ 960 w 1152"/>
                <a:gd name="T61" fmla="*/ 672 h 1056"/>
                <a:gd name="T62" fmla="*/ 824 w 1152"/>
                <a:gd name="T63" fmla="*/ 728 h 1056"/>
                <a:gd name="T64" fmla="*/ 960 w 1152"/>
                <a:gd name="T65" fmla="*/ 864 h 1056"/>
                <a:gd name="T66" fmla="*/ 768 w 1152"/>
                <a:gd name="T67" fmla="*/ 864 h 1056"/>
                <a:gd name="T68" fmla="*/ 768 w 1152"/>
                <a:gd name="T69" fmla="*/ 1056 h 1056"/>
                <a:gd name="T70" fmla="*/ 1152 w 1152"/>
                <a:gd name="T71" fmla="*/ 1056 h 1056"/>
                <a:gd name="T72" fmla="*/ 1152 w 1152"/>
                <a:gd name="T73" fmla="*/ 864 h 1056"/>
                <a:gd name="T74" fmla="*/ 960 w 1152"/>
                <a:gd name="T75" fmla="*/ 672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2" h="1056">
                  <a:moveTo>
                    <a:pt x="576" y="288"/>
                  </a:moveTo>
                  <a:cubicBezTo>
                    <a:pt x="682" y="288"/>
                    <a:pt x="768" y="374"/>
                    <a:pt x="768" y="480"/>
                  </a:cubicBezTo>
                  <a:cubicBezTo>
                    <a:pt x="768" y="672"/>
                    <a:pt x="768" y="672"/>
                    <a:pt x="768" y="672"/>
                  </a:cubicBezTo>
                  <a:cubicBezTo>
                    <a:pt x="576" y="480"/>
                    <a:pt x="576" y="480"/>
                    <a:pt x="576" y="480"/>
                  </a:cubicBezTo>
                  <a:cubicBezTo>
                    <a:pt x="384" y="672"/>
                    <a:pt x="384" y="672"/>
                    <a:pt x="384" y="672"/>
                  </a:cubicBezTo>
                  <a:cubicBezTo>
                    <a:pt x="384" y="480"/>
                    <a:pt x="384" y="480"/>
                    <a:pt x="384" y="480"/>
                  </a:cubicBezTo>
                  <a:cubicBezTo>
                    <a:pt x="384" y="374"/>
                    <a:pt x="470" y="288"/>
                    <a:pt x="576" y="288"/>
                  </a:cubicBezTo>
                  <a:close/>
                  <a:moveTo>
                    <a:pt x="720" y="144"/>
                  </a:moveTo>
                  <a:cubicBezTo>
                    <a:pt x="720" y="64"/>
                    <a:pt x="656" y="0"/>
                    <a:pt x="576" y="0"/>
                  </a:cubicBezTo>
                  <a:cubicBezTo>
                    <a:pt x="496" y="0"/>
                    <a:pt x="432" y="64"/>
                    <a:pt x="432" y="144"/>
                  </a:cubicBezTo>
                  <a:cubicBezTo>
                    <a:pt x="432" y="224"/>
                    <a:pt x="496" y="288"/>
                    <a:pt x="576" y="288"/>
                  </a:cubicBezTo>
                  <a:cubicBezTo>
                    <a:pt x="656" y="288"/>
                    <a:pt x="720" y="224"/>
                    <a:pt x="720" y="144"/>
                  </a:cubicBezTo>
                  <a:close/>
                  <a:moveTo>
                    <a:pt x="336" y="528"/>
                  </a:moveTo>
                  <a:cubicBezTo>
                    <a:pt x="336" y="448"/>
                    <a:pt x="272" y="384"/>
                    <a:pt x="192" y="384"/>
                  </a:cubicBezTo>
                  <a:cubicBezTo>
                    <a:pt x="112" y="384"/>
                    <a:pt x="48" y="448"/>
                    <a:pt x="48" y="528"/>
                  </a:cubicBezTo>
                  <a:cubicBezTo>
                    <a:pt x="48" y="608"/>
                    <a:pt x="112" y="672"/>
                    <a:pt x="192" y="672"/>
                  </a:cubicBezTo>
                  <a:cubicBezTo>
                    <a:pt x="272" y="672"/>
                    <a:pt x="336" y="608"/>
                    <a:pt x="336" y="528"/>
                  </a:cubicBezTo>
                  <a:close/>
                  <a:moveTo>
                    <a:pt x="328" y="728"/>
                  </a:moveTo>
                  <a:cubicBezTo>
                    <a:pt x="293" y="693"/>
                    <a:pt x="245" y="672"/>
                    <a:pt x="192" y="672"/>
                  </a:cubicBezTo>
                  <a:cubicBezTo>
                    <a:pt x="86" y="672"/>
                    <a:pt x="0" y="758"/>
                    <a:pt x="0" y="864"/>
                  </a:cubicBezTo>
                  <a:cubicBezTo>
                    <a:pt x="0" y="1056"/>
                    <a:pt x="0" y="1056"/>
                    <a:pt x="0" y="1056"/>
                  </a:cubicBezTo>
                  <a:cubicBezTo>
                    <a:pt x="384" y="1056"/>
                    <a:pt x="384" y="1056"/>
                    <a:pt x="384" y="1056"/>
                  </a:cubicBezTo>
                  <a:cubicBezTo>
                    <a:pt x="384" y="864"/>
                    <a:pt x="384" y="864"/>
                    <a:pt x="384" y="864"/>
                  </a:cubicBezTo>
                  <a:cubicBezTo>
                    <a:pt x="192" y="864"/>
                    <a:pt x="192" y="864"/>
                    <a:pt x="192" y="864"/>
                  </a:cubicBezTo>
                  <a:lnTo>
                    <a:pt x="328" y="728"/>
                  </a:lnTo>
                  <a:close/>
                  <a:moveTo>
                    <a:pt x="1104" y="528"/>
                  </a:moveTo>
                  <a:cubicBezTo>
                    <a:pt x="1104" y="448"/>
                    <a:pt x="1040" y="384"/>
                    <a:pt x="960" y="384"/>
                  </a:cubicBezTo>
                  <a:cubicBezTo>
                    <a:pt x="880" y="384"/>
                    <a:pt x="816" y="448"/>
                    <a:pt x="816" y="528"/>
                  </a:cubicBezTo>
                  <a:cubicBezTo>
                    <a:pt x="816" y="608"/>
                    <a:pt x="880" y="672"/>
                    <a:pt x="960" y="672"/>
                  </a:cubicBezTo>
                  <a:cubicBezTo>
                    <a:pt x="1040" y="672"/>
                    <a:pt x="1104" y="608"/>
                    <a:pt x="1104" y="528"/>
                  </a:cubicBezTo>
                  <a:close/>
                  <a:moveTo>
                    <a:pt x="960" y="672"/>
                  </a:moveTo>
                  <a:cubicBezTo>
                    <a:pt x="907" y="672"/>
                    <a:pt x="859" y="693"/>
                    <a:pt x="824" y="728"/>
                  </a:cubicBezTo>
                  <a:cubicBezTo>
                    <a:pt x="960" y="864"/>
                    <a:pt x="960" y="864"/>
                    <a:pt x="960" y="864"/>
                  </a:cubicBezTo>
                  <a:cubicBezTo>
                    <a:pt x="768" y="864"/>
                    <a:pt x="768" y="864"/>
                    <a:pt x="768" y="864"/>
                  </a:cubicBezTo>
                  <a:cubicBezTo>
                    <a:pt x="768" y="1056"/>
                    <a:pt x="768" y="1056"/>
                    <a:pt x="768" y="1056"/>
                  </a:cubicBezTo>
                  <a:cubicBezTo>
                    <a:pt x="1152" y="1056"/>
                    <a:pt x="1152" y="1056"/>
                    <a:pt x="1152" y="1056"/>
                  </a:cubicBezTo>
                  <a:cubicBezTo>
                    <a:pt x="1152" y="864"/>
                    <a:pt x="1152" y="864"/>
                    <a:pt x="1152" y="864"/>
                  </a:cubicBezTo>
                  <a:cubicBezTo>
                    <a:pt x="1152" y="758"/>
                    <a:pt x="1066" y="672"/>
                    <a:pt x="960" y="6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AE645A1-EE23-47DE-939A-BAE869C883A2}"/>
                </a:ext>
              </a:extLst>
            </p:cNvPr>
            <p:cNvGrpSpPr/>
            <p:nvPr/>
          </p:nvGrpSpPr>
          <p:grpSpPr>
            <a:xfrm>
              <a:off x="5688383" y="3242226"/>
              <a:ext cx="923167" cy="845275"/>
              <a:chOff x="1921047" y="2009393"/>
              <a:chExt cx="3929255" cy="3597728"/>
            </a:xfrm>
          </p:grpSpPr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7847027-2466-417F-8D2E-B458B6A6EE37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5342F6E2-0129-4E69-B0A1-B9C9DFC4449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5EB6D4AE-B2FA-4F9F-9979-3A96198C642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4FB333DF-635D-4EEB-B413-F013FFD4D2A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8FC61F9D-93A8-4DDA-85EC-7C2BA2B5FB2E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9600E1BD-F3D7-4828-9E86-973C692B7225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C4CAD82-0BFE-454E-B096-BCF425EE56BE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2EF9E29F-18DF-4A55-9CAE-5A5813EBF6C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978EC795-04C6-4FE1-B6D8-3FA8D00E5A0C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C21D0693-AAB5-480A-AEB7-C65A7962AB10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E8E7244F-D6FE-4FDA-B9FA-E7027DC3A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B8FD78F2-D3AC-46A8-9A0C-6607C933B5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168EEA8-B543-435F-B0E5-C2E9DCC17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82905A6-6871-4974-B1E9-EC9485098B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9718F08-F67F-4C2A-88BE-87808141E8D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A0E5200-92E2-44B7-965C-9078BA7FF3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2756B57-16D5-45B4-AC4F-5B469ACE0C3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30E596C-7BEC-4493-AA09-8C9201FFE0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03EA054-6C86-46EB-AF91-AAA8222E47B9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31AE4768-6FCD-4700-8221-F1FE2D50F4D0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61A0072-67EB-4829-939F-A0955E0C3DBD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5C239F20-8E8E-4FC0-9365-75392A70F922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65B08FC5-455E-44B1-B730-C784253CAEE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4C0BF205-2DC5-457C-8CCB-E53985FE205F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E1BB34D3-558B-43B8-B465-B606810DEF88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1F275BAA-09C2-45BB-85A1-5EE5F65F84DF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01C13AD-D871-43D6-BC2B-195D844827F0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9696F2-A94C-46A1-8360-4A88E990951A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799850D-2475-4C9F-80F6-849C727E1A39}"/>
              </a:ext>
            </a:extLst>
          </p:cNvPr>
          <p:cNvGrpSpPr/>
          <p:nvPr/>
        </p:nvGrpSpPr>
        <p:grpSpPr>
          <a:xfrm>
            <a:off x="4260469" y="2621110"/>
            <a:ext cx="2594928" cy="2048480"/>
            <a:chOff x="8406580" y="618359"/>
            <a:chExt cx="1484672" cy="1172025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E04A01A4-6CFB-4E9A-9EC6-5A0941F4ECF3}"/>
                </a:ext>
              </a:extLst>
            </p:cNvPr>
            <p:cNvSpPr/>
            <p:nvPr/>
          </p:nvSpPr>
          <p:spPr>
            <a:xfrm>
              <a:off x="8406581" y="618359"/>
              <a:ext cx="1484671" cy="1172025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7D47CFCE-644A-45F0-B581-A2CFBF393FDD}"/>
                </a:ext>
              </a:extLst>
            </p:cNvPr>
            <p:cNvSpPr/>
            <p:nvPr/>
          </p:nvSpPr>
          <p:spPr>
            <a:xfrm>
              <a:off x="8406580" y="618359"/>
              <a:ext cx="1484671" cy="137946"/>
            </a:xfrm>
            <a:prstGeom prst="rect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E206087B-DB1E-418B-8F7F-761844FAD549}"/>
                </a:ext>
              </a:extLst>
            </p:cNvPr>
            <p:cNvGrpSpPr/>
            <p:nvPr/>
          </p:nvGrpSpPr>
          <p:grpSpPr>
            <a:xfrm>
              <a:off x="9734550" y="658772"/>
              <a:ext cx="90794" cy="66675"/>
              <a:chOff x="10358438" y="592532"/>
              <a:chExt cx="90794" cy="66675"/>
            </a:xfrm>
          </p:grpSpPr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610FE9B1-83A7-4096-A48A-B974AD5FF6B9}"/>
                  </a:ext>
                </a:extLst>
              </p:cNvPr>
              <p:cNvCxnSpPr/>
              <p:nvPr/>
            </p:nvCxnSpPr>
            <p:spPr>
              <a:xfrm>
                <a:off x="10358438" y="592532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BF640EF-5B4B-41E6-A5A0-737A4AB32297}"/>
                  </a:ext>
                </a:extLst>
              </p:cNvPr>
              <p:cNvCxnSpPr/>
              <p:nvPr/>
            </p:nvCxnSpPr>
            <p:spPr>
              <a:xfrm>
                <a:off x="10358438" y="625870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342765F2-074E-47DB-93A5-6032B7499A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58438" y="659207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</p:grpSp>
      <p:sp>
        <p:nvSpPr>
          <p:cNvPr id="12" name="Freeform 77">
            <a:extLst>
              <a:ext uri="{FF2B5EF4-FFF2-40B4-BE49-F238E27FC236}">
                <a16:creationId xmlns:a16="http://schemas.microsoft.com/office/drawing/2014/main" id="{F19A2AD3-A21D-4A43-BC27-52921F5E736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03043" y="2805567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77">
            <a:extLst>
              <a:ext uri="{FF2B5EF4-FFF2-40B4-BE49-F238E27FC236}">
                <a16:creationId xmlns:a16="http://schemas.microsoft.com/office/drawing/2014/main" id="{9B00FB08-BBF1-4114-9E7E-0CC834778B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2481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77">
            <a:extLst>
              <a:ext uri="{FF2B5EF4-FFF2-40B4-BE49-F238E27FC236}">
                <a16:creationId xmlns:a16="http://schemas.microsoft.com/office/drawing/2014/main" id="{0AE10DD0-D9DE-4009-A18E-B076345C3D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933605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 69">
            <a:extLst>
              <a:ext uri="{FF2B5EF4-FFF2-40B4-BE49-F238E27FC236}">
                <a16:creationId xmlns:a16="http://schemas.microsoft.com/office/drawing/2014/main" id="{CED6CE00-8625-498D-8E34-D517723337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64167" y="2805568"/>
            <a:ext cx="333537" cy="363664"/>
          </a:xfrm>
          <a:custGeom>
            <a:avLst/>
            <a:gdLst>
              <a:gd name="T0" fmla="*/ 672 w 1056"/>
              <a:gd name="T1" fmla="*/ 864 h 1152"/>
              <a:gd name="T2" fmla="*/ 576 w 1056"/>
              <a:gd name="T3" fmla="*/ 960 h 1152"/>
              <a:gd name="T4" fmla="*/ 480 w 1056"/>
              <a:gd name="T5" fmla="*/ 960 h 1152"/>
              <a:gd name="T6" fmla="*/ 384 w 1056"/>
              <a:gd name="T7" fmla="*/ 864 h 1152"/>
              <a:gd name="T8" fmla="*/ 480 w 1056"/>
              <a:gd name="T9" fmla="*/ 768 h 1152"/>
              <a:gd name="T10" fmla="*/ 576 w 1056"/>
              <a:gd name="T11" fmla="*/ 768 h 1152"/>
              <a:gd name="T12" fmla="*/ 672 w 1056"/>
              <a:gd name="T13" fmla="*/ 864 h 1152"/>
              <a:gd name="T14" fmla="*/ 960 w 1056"/>
              <a:gd name="T15" fmla="*/ 144 h 1152"/>
              <a:gd name="T16" fmla="*/ 816 w 1056"/>
              <a:gd name="T17" fmla="*/ 0 h 1152"/>
              <a:gd name="T18" fmla="*/ 672 w 1056"/>
              <a:gd name="T19" fmla="*/ 144 h 1152"/>
              <a:gd name="T20" fmla="*/ 816 w 1056"/>
              <a:gd name="T21" fmla="*/ 288 h 1152"/>
              <a:gd name="T22" fmla="*/ 960 w 1056"/>
              <a:gd name="T23" fmla="*/ 144 h 1152"/>
              <a:gd name="T24" fmla="*/ 1056 w 1056"/>
              <a:gd name="T25" fmla="*/ 864 h 1152"/>
              <a:gd name="T26" fmla="*/ 960 w 1056"/>
              <a:gd name="T27" fmla="*/ 864 h 1152"/>
              <a:gd name="T28" fmla="*/ 960 w 1056"/>
              <a:gd name="T29" fmla="*/ 1152 h 1152"/>
              <a:gd name="T30" fmla="*/ 96 w 1056"/>
              <a:gd name="T31" fmla="*/ 1152 h 1152"/>
              <a:gd name="T32" fmla="*/ 96 w 1056"/>
              <a:gd name="T33" fmla="*/ 864 h 1152"/>
              <a:gd name="T34" fmla="*/ 0 w 1056"/>
              <a:gd name="T35" fmla="*/ 864 h 1152"/>
              <a:gd name="T36" fmla="*/ 0 w 1056"/>
              <a:gd name="T37" fmla="*/ 528 h 1152"/>
              <a:gd name="T38" fmla="*/ 240 w 1056"/>
              <a:gd name="T39" fmla="*/ 288 h 1152"/>
              <a:gd name="T40" fmla="*/ 480 w 1056"/>
              <a:gd name="T41" fmla="*/ 528 h 1152"/>
              <a:gd name="T42" fmla="*/ 480 w 1056"/>
              <a:gd name="T43" fmla="*/ 576 h 1152"/>
              <a:gd name="T44" fmla="*/ 576 w 1056"/>
              <a:gd name="T45" fmla="*/ 576 h 1152"/>
              <a:gd name="T46" fmla="*/ 576 w 1056"/>
              <a:gd name="T47" fmla="*/ 528 h 1152"/>
              <a:gd name="T48" fmla="*/ 816 w 1056"/>
              <a:gd name="T49" fmla="*/ 288 h 1152"/>
              <a:gd name="T50" fmla="*/ 1056 w 1056"/>
              <a:gd name="T51" fmla="*/ 528 h 1152"/>
              <a:gd name="T52" fmla="*/ 1056 w 1056"/>
              <a:gd name="T53" fmla="*/ 864 h 1152"/>
              <a:gd name="T54" fmla="*/ 864 w 1056"/>
              <a:gd name="T55" fmla="*/ 768 h 1152"/>
              <a:gd name="T56" fmla="*/ 768 w 1056"/>
              <a:gd name="T57" fmla="*/ 672 h 1152"/>
              <a:gd name="T58" fmla="*/ 288 w 1056"/>
              <a:gd name="T59" fmla="*/ 672 h 1152"/>
              <a:gd name="T60" fmla="*/ 192 w 1056"/>
              <a:gd name="T61" fmla="*/ 768 h 1152"/>
              <a:gd name="T62" fmla="*/ 192 w 1056"/>
              <a:gd name="T63" fmla="*/ 960 h 1152"/>
              <a:gd name="T64" fmla="*/ 288 w 1056"/>
              <a:gd name="T65" fmla="*/ 1056 h 1152"/>
              <a:gd name="T66" fmla="*/ 768 w 1056"/>
              <a:gd name="T67" fmla="*/ 1056 h 1152"/>
              <a:gd name="T68" fmla="*/ 864 w 1056"/>
              <a:gd name="T69" fmla="*/ 960 h 1152"/>
              <a:gd name="T70" fmla="*/ 864 w 1056"/>
              <a:gd name="T71" fmla="*/ 768 h 1152"/>
              <a:gd name="T72" fmla="*/ 384 w 1056"/>
              <a:gd name="T73" fmla="*/ 144 h 1152"/>
              <a:gd name="T74" fmla="*/ 240 w 1056"/>
              <a:gd name="T75" fmla="*/ 0 h 1152"/>
              <a:gd name="T76" fmla="*/ 96 w 1056"/>
              <a:gd name="T77" fmla="*/ 144 h 1152"/>
              <a:gd name="T78" fmla="*/ 240 w 1056"/>
              <a:gd name="T79" fmla="*/ 288 h 1152"/>
              <a:gd name="T80" fmla="*/ 384 w 1056"/>
              <a:gd name="T81" fmla="*/ 144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056" h="1152">
                <a:moveTo>
                  <a:pt x="672" y="864"/>
                </a:moveTo>
                <a:cubicBezTo>
                  <a:pt x="672" y="917"/>
                  <a:pt x="629" y="960"/>
                  <a:pt x="576" y="960"/>
                </a:cubicBezTo>
                <a:cubicBezTo>
                  <a:pt x="480" y="960"/>
                  <a:pt x="480" y="960"/>
                  <a:pt x="480" y="960"/>
                </a:cubicBezTo>
                <a:cubicBezTo>
                  <a:pt x="427" y="960"/>
                  <a:pt x="384" y="917"/>
                  <a:pt x="384" y="864"/>
                </a:cubicBezTo>
                <a:cubicBezTo>
                  <a:pt x="384" y="811"/>
                  <a:pt x="427" y="768"/>
                  <a:pt x="480" y="768"/>
                </a:cubicBezTo>
                <a:cubicBezTo>
                  <a:pt x="576" y="768"/>
                  <a:pt x="576" y="768"/>
                  <a:pt x="576" y="768"/>
                </a:cubicBezTo>
                <a:cubicBezTo>
                  <a:pt x="629" y="768"/>
                  <a:pt x="672" y="811"/>
                  <a:pt x="672" y="864"/>
                </a:cubicBezTo>
                <a:close/>
                <a:moveTo>
                  <a:pt x="960" y="144"/>
                </a:moveTo>
                <a:cubicBezTo>
                  <a:pt x="960" y="64"/>
                  <a:pt x="896" y="0"/>
                  <a:pt x="816" y="0"/>
                </a:cubicBezTo>
                <a:cubicBezTo>
                  <a:pt x="736" y="0"/>
                  <a:pt x="672" y="64"/>
                  <a:pt x="672" y="144"/>
                </a:cubicBezTo>
                <a:cubicBezTo>
                  <a:pt x="672" y="224"/>
                  <a:pt x="736" y="288"/>
                  <a:pt x="816" y="288"/>
                </a:cubicBezTo>
                <a:cubicBezTo>
                  <a:pt x="896" y="288"/>
                  <a:pt x="960" y="224"/>
                  <a:pt x="960" y="144"/>
                </a:cubicBezTo>
                <a:close/>
                <a:moveTo>
                  <a:pt x="1056" y="864"/>
                </a:moveTo>
                <a:cubicBezTo>
                  <a:pt x="960" y="864"/>
                  <a:pt x="960" y="864"/>
                  <a:pt x="960" y="864"/>
                </a:cubicBezTo>
                <a:cubicBezTo>
                  <a:pt x="960" y="1152"/>
                  <a:pt x="960" y="1152"/>
                  <a:pt x="960" y="1152"/>
                </a:cubicBezTo>
                <a:cubicBezTo>
                  <a:pt x="96" y="1152"/>
                  <a:pt x="96" y="1152"/>
                  <a:pt x="96" y="1152"/>
                </a:cubicBezTo>
                <a:cubicBezTo>
                  <a:pt x="96" y="864"/>
                  <a:pt x="96" y="864"/>
                  <a:pt x="96" y="864"/>
                </a:cubicBezTo>
                <a:cubicBezTo>
                  <a:pt x="0" y="864"/>
                  <a:pt x="0" y="864"/>
                  <a:pt x="0" y="864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395"/>
                  <a:pt x="107" y="288"/>
                  <a:pt x="240" y="288"/>
                </a:cubicBezTo>
                <a:cubicBezTo>
                  <a:pt x="373" y="288"/>
                  <a:pt x="480" y="395"/>
                  <a:pt x="480" y="528"/>
                </a:cubicBezTo>
                <a:cubicBezTo>
                  <a:pt x="480" y="576"/>
                  <a:pt x="480" y="576"/>
                  <a:pt x="48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28"/>
                  <a:pt x="576" y="528"/>
                  <a:pt x="576" y="528"/>
                </a:cubicBezTo>
                <a:cubicBezTo>
                  <a:pt x="576" y="395"/>
                  <a:pt x="683" y="288"/>
                  <a:pt x="816" y="288"/>
                </a:cubicBezTo>
                <a:cubicBezTo>
                  <a:pt x="949" y="288"/>
                  <a:pt x="1056" y="395"/>
                  <a:pt x="1056" y="528"/>
                </a:cubicBezTo>
                <a:lnTo>
                  <a:pt x="1056" y="864"/>
                </a:lnTo>
                <a:close/>
                <a:moveTo>
                  <a:pt x="864" y="768"/>
                </a:moveTo>
                <a:cubicBezTo>
                  <a:pt x="811" y="768"/>
                  <a:pt x="768" y="725"/>
                  <a:pt x="768" y="672"/>
                </a:cubicBezTo>
                <a:cubicBezTo>
                  <a:pt x="288" y="672"/>
                  <a:pt x="288" y="672"/>
                  <a:pt x="288" y="672"/>
                </a:cubicBezTo>
                <a:cubicBezTo>
                  <a:pt x="288" y="725"/>
                  <a:pt x="245" y="768"/>
                  <a:pt x="192" y="768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45" y="960"/>
                  <a:pt x="288" y="1003"/>
                  <a:pt x="288" y="1056"/>
                </a:cubicBezTo>
                <a:cubicBezTo>
                  <a:pt x="768" y="1056"/>
                  <a:pt x="768" y="1056"/>
                  <a:pt x="768" y="1056"/>
                </a:cubicBezTo>
                <a:cubicBezTo>
                  <a:pt x="768" y="1003"/>
                  <a:pt x="811" y="960"/>
                  <a:pt x="864" y="960"/>
                </a:cubicBezTo>
                <a:lnTo>
                  <a:pt x="864" y="768"/>
                </a:lnTo>
                <a:close/>
                <a:moveTo>
                  <a:pt x="384" y="144"/>
                </a:moveTo>
                <a:cubicBezTo>
                  <a:pt x="384" y="64"/>
                  <a:pt x="320" y="0"/>
                  <a:pt x="240" y="0"/>
                </a:cubicBezTo>
                <a:cubicBezTo>
                  <a:pt x="160" y="0"/>
                  <a:pt x="96" y="64"/>
                  <a:pt x="96" y="144"/>
                </a:cubicBezTo>
                <a:cubicBezTo>
                  <a:pt x="96" y="224"/>
                  <a:pt x="160" y="288"/>
                  <a:pt x="240" y="288"/>
                </a:cubicBezTo>
                <a:cubicBezTo>
                  <a:pt x="320" y="288"/>
                  <a:pt x="384" y="224"/>
                  <a:pt x="384" y="144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reeform 61">
            <a:extLst>
              <a:ext uri="{FF2B5EF4-FFF2-40B4-BE49-F238E27FC236}">
                <a16:creationId xmlns:a16="http://schemas.microsoft.com/office/drawing/2014/main" id="{D504A412-814D-4426-AF6A-B0EA7906BA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28314" y="2805568"/>
            <a:ext cx="363664" cy="363664"/>
          </a:xfrm>
          <a:custGeom>
            <a:avLst/>
            <a:gdLst>
              <a:gd name="T0" fmla="*/ 1152 w 1152"/>
              <a:gd name="T1" fmla="*/ 1152 h 1152"/>
              <a:gd name="T2" fmla="*/ 0 w 1152"/>
              <a:gd name="T3" fmla="*/ 1152 h 1152"/>
              <a:gd name="T4" fmla="*/ 0 w 1152"/>
              <a:gd name="T5" fmla="*/ 0 h 1152"/>
              <a:gd name="T6" fmla="*/ 192 w 1152"/>
              <a:gd name="T7" fmla="*/ 192 h 1152"/>
              <a:gd name="T8" fmla="*/ 96 w 1152"/>
              <a:gd name="T9" fmla="*/ 192 h 1152"/>
              <a:gd name="T10" fmla="*/ 96 w 1152"/>
              <a:gd name="T11" fmla="*/ 1056 h 1152"/>
              <a:gd name="T12" fmla="*/ 960 w 1152"/>
              <a:gd name="T13" fmla="*/ 1056 h 1152"/>
              <a:gd name="T14" fmla="*/ 960 w 1152"/>
              <a:gd name="T15" fmla="*/ 960 h 1152"/>
              <a:gd name="T16" fmla="*/ 1152 w 1152"/>
              <a:gd name="T17" fmla="*/ 1152 h 1152"/>
              <a:gd name="T18" fmla="*/ 1056 w 1152"/>
              <a:gd name="T19" fmla="*/ 192 h 1152"/>
              <a:gd name="T20" fmla="*/ 960 w 1152"/>
              <a:gd name="T21" fmla="*/ 192 h 1152"/>
              <a:gd name="T22" fmla="*/ 288 w 1152"/>
              <a:gd name="T23" fmla="*/ 864 h 1152"/>
              <a:gd name="T24" fmla="*/ 192 w 1152"/>
              <a:gd name="T25" fmla="*/ 864 h 1152"/>
              <a:gd name="T26" fmla="*/ 192 w 1152"/>
              <a:gd name="T27" fmla="*/ 960 h 1152"/>
              <a:gd name="T28" fmla="*/ 288 w 1152"/>
              <a:gd name="T29" fmla="*/ 960 h 1152"/>
              <a:gd name="T30" fmla="*/ 1056 w 1152"/>
              <a:gd name="T31" fmla="*/ 19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52" h="1152">
                <a:moveTo>
                  <a:pt x="1152" y="1152"/>
                </a:moveTo>
                <a:cubicBezTo>
                  <a:pt x="0" y="1152"/>
                  <a:pt x="0" y="1152"/>
                  <a:pt x="0" y="1152"/>
                </a:cubicBezTo>
                <a:cubicBezTo>
                  <a:pt x="0" y="0"/>
                  <a:pt x="0" y="0"/>
                  <a:pt x="0" y="0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0" y="1056"/>
                  <a:pt x="960" y="1056"/>
                  <a:pt x="960" y="1056"/>
                </a:cubicBezTo>
                <a:cubicBezTo>
                  <a:pt x="960" y="960"/>
                  <a:pt x="960" y="960"/>
                  <a:pt x="960" y="960"/>
                </a:cubicBezTo>
                <a:lnTo>
                  <a:pt x="1152" y="1152"/>
                </a:lnTo>
                <a:close/>
                <a:moveTo>
                  <a:pt x="1056" y="192"/>
                </a:moveTo>
                <a:cubicBezTo>
                  <a:pt x="960" y="192"/>
                  <a:pt x="960" y="192"/>
                  <a:pt x="960" y="192"/>
                </a:cubicBezTo>
                <a:cubicBezTo>
                  <a:pt x="960" y="563"/>
                  <a:pt x="659" y="864"/>
                  <a:pt x="288" y="864"/>
                </a:cubicBezTo>
                <a:cubicBezTo>
                  <a:pt x="192" y="864"/>
                  <a:pt x="192" y="864"/>
                  <a:pt x="192" y="864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88" y="960"/>
                  <a:pt x="288" y="960"/>
                  <a:pt x="288" y="960"/>
                </a:cubicBezTo>
                <a:cubicBezTo>
                  <a:pt x="712" y="960"/>
                  <a:pt x="1056" y="615"/>
                  <a:pt x="1056" y="19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A7AA29C7-56C9-4D5C-83A6-DBE85B2B26E2}"/>
              </a:ext>
            </a:extLst>
          </p:cNvPr>
          <p:cNvGrpSpPr/>
          <p:nvPr/>
        </p:nvGrpSpPr>
        <p:grpSpPr>
          <a:xfrm>
            <a:off x="1457823" y="3538326"/>
            <a:ext cx="1248813" cy="985834"/>
            <a:chOff x="1568852" y="3538326"/>
            <a:chExt cx="1248813" cy="985834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74E9099C-4371-415D-8C42-123E40D4DA99}"/>
                </a:ext>
              </a:extLst>
            </p:cNvPr>
            <p:cNvGrpSpPr/>
            <p:nvPr/>
          </p:nvGrpSpPr>
          <p:grpSpPr>
            <a:xfrm>
              <a:off x="1568852" y="3538326"/>
              <a:ext cx="1248813" cy="985834"/>
              <a:chOff x="8406580" y="618359"/>
              <a:chExt cx="1484672" cy="1172025"/>
            </a:xfrm>
          </p:grpSpPr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6ECF6875-5F46-47C4-A051-D0DB3222535B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2B504600-B3B7-43FF-B9D5-FCF3071B8CCD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241964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58759837-2474-4CE2-8F80-9A7ACF80A9C5}"/>
                  </a:ext>
                </a:extLst>
              </p:cNvPr>
              <p:cNvGrpSpPr/>
              <p:nvPr/>
            </p:nvGrpSpPr>
            <p:grpSpPr>
              <a:xfrm>
                <a:off x="9734550" y="706003"/>
                <a:ext cx="90794" cy="66676"/>
                <a:chOff x="10358438" y="639763"/>
                <a:chExt cx="90794" cy="66676"/>
              </a:xfrm>
            </p:grpSpPr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08A1270B-B568-4D9C-86C0-1F26252407F7}"/>
                    </a:ext>
                  </a:extLst>
                </p:cNvPr>
                <p:cNvCxnSpPr/>
                <p:nvPr/>
              </p:nvCxnSpPr>
              <p:spPr>
                <a:xfrm>
                  <a:off x="10358438" y="639763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3" name="Straight Connector 122">
                  <a:extLst>
                    <a:ext uri="{FF2B5EF4-FFF2-40B4-BE49-F238E27FC236}">
                      <a16:creationId xmlns:a16="http://schemas.microsoft.com/office/drawing/2014/main" id="{50141450-4285-4989-85FE-AB014A085F22}"/>
                    </a:ext>
                  </a:extLst>
                </p:cNvPr>
                <p:cNvCxnSpPr/>
                <p:nvPr/>
              </p:nvCxnSpPr>
              <p:spPr>
                <a:xfrm>
                  <a:off x="10358438" y="673101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DF2C955D-8424-480F-82F8-BD19437A3F57}"/>
                    </a:ext>
                  </a:extLst>
                </p:cNvPr>
                <p:cNvCxnSpPr/>
                <p:nvPr/>
              </p:nvCxnSpPr>
              <p:spPr>
                <a:xfrm>
                  <a:off x="10358438" y="706439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146AE8E7-FCCC-4E9D-BDD9-EE9D1BF2EC0C}"/>
                </a:ext>
              </a:extLst>
            </p:cNvPr>
            <p:cNvGrpSpPr/>
            <p:nvPr/>
          </p:nvGrpSpPr>
          <p:grpSpPr>
            <a:xfrm>
              <a:off x="1868561" y="3820587"/>
              <a:ext cx="641566" cy="587434"/>
              <a:chOff x="1921047" y="2009393"/>
              <a:chExt cx="3929255" cy="3597728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C8C0CFE-B6CA-4588-83DA-625595B9A78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61EF558-59CF-4C00-9271-BEE057A8A78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866FC4D4-9223-4017-9422-3D14D9ED3AA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CD8A835-CFB7-479D-B013-5785E8861464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CD42599-2188-4963-B681-34BD02B31506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76398F13-F656-41FC-A9D4-283CE237F976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E5F5101-9BC1-4CB3-9D1A-1E56BC524505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0DEABF93-C3A4-4A2F-8B14-5AA3E442CB6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C0FE6CE3-8E61-4AF0-AE77-3465BAD4A647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AF4E059C-1A3A-4DBB-B769-3CEAF796C9DB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ED7D99F6-8D9B-4BE9-A1F4-F72FB8F7DE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867D6DED-CD16-4993-AC41-5804F1D3E4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81F77AA9-FB9B-4CED-AC77-C5BB83371D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77D04B6A-81C8-4A44-B268-3843B25BB9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0DBF58E4-18EB-40DF-A536-7933BCD4D8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4F154AFF-3A29-4C8E-ABA3-F10A1D8FA0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41D2B052-1F59-4BEB-817F-6AFA1D86BBF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3082D8D1-2E65-4DDB-A018-E18E2824768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E3628013-9307-43DC-9D97-D17099EF5FB4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92A87960-11BE-426B-BE7A-8F199EB7D59C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3F6D7AF-4CAF-4B9C-8021-FA7A828ECC18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C460ED01-6C38-4A64-BE90-2A962F52D3AC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AFC0A740-B4CC-4892-8951-E167F25FE31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D26FBB2-2E6A-4AF6-81F8-8F3CD751B32C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C8817A73-AF00-4958-8382-0C9BC2597B4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A2E4413-2C7C-41C4-8D38-EF82FCE13877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589D2B0-EA81-4995-9D8A-F357037D0B9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4238E746-4DD7-4406-873B-84EF8C100152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sp>
        <p:nvSpPr>
          <p:cNvPr id="136" name="Shape 135">
            <a:extLst>
              <a:ext uri="{FF2B5EF4-FFF2-40B4-BE49-F238E27FC236}">
                <a16:creationId xmlns:a16="http://schemas.microsoft.com/office/drawing/2014/main" id="{DDD3EE56-BD40-46DB-9011-1531902B9AB0}"/>
              </a:ext>
            </a:extLst>
          </p:cNvPr>
          <p:cNvSpPr/>
          <p:nvPr/>
        </p:nvSpPr>
        <p:spPr>
          <a:xfrm rot="10800000">
            <a:off x="2304310" y="3246160"/>
            <a:ext cx="806344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7" name="Shape 136">
            <a:extLst>
              <a:ext uri="{FF2B5EF4-FFF2-40B4-BE49-F238E27FC236}">
                <a16:creationId xmlns:a16="http://schemas.microsoft.com/office/drawing/2014/main" id="{26602F21-3A44-423B-8E48-FD73A25470FC}"/>
              </a:ext>
            </a:extLst>
          </p:cNvPr>
          <p:cNvSpPr/>
          <p:nvPr/>
        </p:nvSpPr>
        <p:spPr>
          <a:xfrm rot="10800000" flipH="1">
            <a:off x="1034674" y="3246161"/>
            <a:ext cx="762858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47FBD109-B142-4ED8-805A-A55D42A6888D}"/>
              </a:ext>
            </a:extLst>
          </p:cNvPr>
          <p:cNvSpPr txBox="1"/>
          <p:nvPr/>
        </p:nvSpPr>
        <p:spPr>
          <a:xfrm>
            <a:off x="11007461" y="5097189"/>
            <a:ext cx="297425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s ideas to delivered solutions with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Accelerated Solution Development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12DD92D-ADD7-42F7-AB44-1204A3BD5EA0}"/>
              </a:ext>
            </a:extLst>
          </p:cNvPr>
          <p:cNvGrpSpPr/>
          <p:nvPr/>
        </p:nvGrpSpPr>
        <p:grpSpPr>
          <a:xfrm>
            <a:off x="7750920" y="2621110"/>
            <a:ext cx="2594928" cy="2048480"/>
            <a:chOff x="7664639" y="2653099"/>
            <a:chExt cx="2594928" cy="2048480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6B142B0-CB7D-4394-8799-898CE101DC08}"/>
                </a:ext>
              </a:extLst>
            </p:cNvPr>
            <p:cNvGrpSpPr/>
            <p:nvPr/>
          </p:nvGrpSpPr>
          <p:grpSpPr>
            <a:xfrm>
              <a:off x="7664639" y="2653099"/>
              <a:ext cx="2594928" cy="2048480"/>
              <a:chOff x="8406580" y="618359"/>
              <a:chExt cx="1484672" cy="1172025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B29CDF55-FFFC-41E9-8272-D26CC524DAE7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59508D7D-085F-4E0F-B15B-A8FFD7D23B42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C3B16F19-96B6-4BAD-A6FC-01A430AAB0EF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290DD2F1-7126-46A8-A2BD-82D97B71FB0F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C5BCAF6A-BBA9-4572-AD12-BEC4ED979E5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F6F9A108-D5CF-49D3-8E21-7F31C646E0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0940BF8E-F5D2-4ED9-8A40-5CB594553C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40850" y="3081875"/>
              <a:ext cx="749302" cy="138847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660C21D3-2BA9-4B53-ACCF-FC8698569F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1700" y="3051181"/>
              <a:ext cx="1568450" cy="106361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7F73B7AC-0602-4F6B-9E54-98142CCA93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1950" y="3051181"/>
              <a:ext cx="2108200" cy="54516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BC16063B-DC7C-42B6-BBDB-410140D242DF}"/>
                </a:ext>
              </a:extLst>
            </p:cNvPr>
            <p:cNvSpPr/>
            <p:nvPr/>
          </p:nvSpPr>
          <p:spPr>
            <a:xfrm>
              <a:off x="8021462" y="3206289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8550B624-B951-46BD-88F7-6D4BD53F9DF2}"/>
                </a:ext>
              </a:extLst>
            </p:cNvPr>
            <p:cNvSpPr/>
            <p:nvPr/>
          </p:nvSpPr>
          <p:spPr>
            <a:xfrm>
              <a:off x="8872065" y="3567581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E0783B7C-47BD-4AB1-913D-558B0BC2CDBC}"/>
                </a:ext>
              </a:extLst>
            </p:cNvPr>
            <p:cNvSpPr/>
            <p:nvPr/>
          </p:nvSpPr>
          <p:spPr>
            <a:xfrm>
              <a:off x="9002785" y="4137805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D7BF9506-07EE-4E36-887D-49C969277AAF}"/>
                </a:ext>
              </a:extLst>
            </p:cNvPr>
            <p:cNvSpPr/>
            <p:nvPr/>
          </p:nvSpPr>
          <p:spPr>
            <a:xfrm>
              <a:off x="9841029" y="3631512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3E1AB52C-0A98-41A7-98CF-1769990D1B24}"/>
                </a:ext>
              </a:extLst>
            </p:cNvPr>
            <p:cNvSpPr/>
            <p:nvPr/>
          </p:nvSpPr>
          <p:spPr>
            <a:xfrm>
              <a:off x="8356258" y="3728111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4E089C8B-CEB1-48A0-BEDA-61BC1A729781}"/>
                </a:ext>
              </a:extLst>
            </p:cNvPr>
            <p:cNvSpPr/>
            <p:nvPr/>
          </p:nvSpPr>
          <p:spPr>
            <a:xfrm>
              <a:off x="8180604" y="330415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49E8A8C3-87E6-411A-828C-AB9642669DF3}"/>
                </a:ext>
              </a:extLst>
            </p:cNvPr>
            <p:cNvSpPr/>
            <p:nvPr/>
          </p:nvSpPr>
          <p:spPr>
            <a:xfrm>
              <a:off x="9552762" y="4332097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EF424A28-0CAF-49F9-AAEF-0AF333DD0629}"/>
                </a:ext>
              </a:extLst>
            </p:cNvPr>
            <p:cNvSpPr/>
            <p:nvPr/>
          </p:nvSpPr>
          <p:spPr>
            <a:xfrm>
              <a:off x="9386632" y="386418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B2A0ADE0-43D1-4EA1-8366-1FA478374000}"/>
                </a:ext>
              </a:extLst>
            </p:cNvPr>
            <p:cNvSpPr/>
            <p:nvPr/>
          </p:nvSpPr>
          <p:spPr>
            <a:xfrm>
              <a:off x="9042492" y="3081875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4" name="Arrow: Right 263">
            <a:extLst>
              <a:ext uri="{FF2B5EF4-FFF2-40B4-BE49-F238E27FC236}">
                <a16:creationId xmlns:a16="http://schemas.microsoft.com/office/drawing/2014/main" id="{334914C5-41C0-4FA0-A97E-26192E39F1FD}"/>
              </a:ext>
            </a:extLst>
          </p:cNvPr>
          <p:cNvSpPr/>
          <p:nvPr/>
        </p:nvSpPr>
        <p:spPr>
          <a:xfrm>
            <a:off x="440243" y="7085150"/>
            <a:ext cx="13749915" cy="465737"/>
          </a:xfrm>
          <a:prstGeom prst="rightArrow">
            <a:avLst>
              <a:gd name="adj1" fmla="val 100000"/>
              <a:gd name="adj2" fmla="val 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Trends</a:t>
            </a:r>
          </a:p>
        </p:txBody>
      </p:sp>
      <p:sp>
        <p:nvSpPr>
          <p:cNvPr id="140" name="Star: 32 Points 139">
            <a:extLst>
              <a:ext uri="{FF2B5EF4-FFF2-40B4-BE49-F238E27FC236}">
                <a16:creationId xmlns:a16="http://schemas.microsoft.com/office/drawing/2014/main" id="{F073A119-9E60-4E63-AEF1-5EE06F6B064A}"/>
              </a:ext>
            </a:extLst>
          </p:cNvPr>
          <p:cNvSpPr/>
          <p:nvPr/>
        </p:nvSpPr>
        <p:spPr>
          <a:xfrm>
            <a:off x="152006" y="665006"/>
            <a:ext cx="1292637" cy="1292637"/>
          </a:xfrm>
          <a:prstGeom prst="star32">
            <a:avLst>
              <a:gd name="adj" fmla="val 46086"/>
            </a:avLst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available toda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F31911A-83B4-47D8-BD32-750CDD1DEEA2}"/>
              </a:ext>
            </a:extLst>
          </p:cNvPr>
          <p:cNvGrpSpPr/>
          <p:nvPr/>
        </p:nvGrpSpPr>
        <p:grpSpPr>
          <a:xfrm>
            <a:off x="11197126" y="2621110"/>
            <a:ext cx="2594928" cy="2048480"/>
            <a:chOff x="11191115" y="2601598"/>
            <a:chExt cx="2594928" cy="204848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129AF97-C5F7-4741-94E4-F5BEC3265520}"/>
                </a:ext>
              </a:extLst>
            </p:cNvPr>
            <p:cNvGrpSpPr/>
            <p:nvPr/>
          </p:nvGrpSpPr>
          <p:grpSpPr>
            <a:xfrm>
              <a:off x="11328047" y="2973199"/>
              <a:ext cx="2340367" cy="1565932"/>
              <a:chOff x="10885764" y="2571783"/>
              <a:chExt cx="2995585" cy="2004336"/>
            </a:xfrm>
          </p:grpSpPr>
          <p:sp>
            <p:nvSpPr>
              <p:cNvPr id="184" name="Isosceles Triangle 183">
                <a:extLst>
                  <a:ext uri="{FF2B5EF4-FFF2-40B4-BE49-F238E27FC236}">
                    <a16:creationId xmlns:a16="http://schemas.microsoft.com/office/drawing/2014/main" id="{FADA2441-FEE5-4D7A-82CF-2FB069D33D73}"/>
                  </a:ext>
                </a:extLst>
              </p:cNvPr>
              <p:cNvSpPr/>
              <p:nvPr/>
            </p:nvSpPr>
            <p:spPr>
              <a:xfrm>
                <a:off x="10920611" y="2608649"/>
                <a:ext cx="2960738" cy="1725097"/>
              </a:xfrm>
              <a:prstGeom prst="triangle">
                <a:avLst>
                  <a:gd name="adj" fmla="val 10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58AF0FA5-122F-4BB0-8A94-397F4EDAB231}"/>
                  </a:ext>
                </a:extLst>
              </p:cNvPr>
              <p:cNvSpPr txBox="1"/>
              <p:nvPr/>
            </p:nvSpPr>
            <p:spPr>
              <a:xfrm>
                <a:off x="10885764" y="4345287"/>
                <a:ext cx="402674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945C1350-992D-4B9D-87F3-6A6C71A679D0}"/>
                  </a:ext>
                </a:extLst>
              </p:cNvPr>
              <p:cNvSpPr txBox="1"/>
              <p:nvPr/>
            </p:nvSpPr>
            <p:spPr>
              <a:xfrm>
                <a:off x="11428564" y="4345287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cept</a:t>
                </a: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C62F9CE7-8AAC-48DA-8EC1-072792D07D7B}"/>
                  </a:ext>
                </a:extLst>
              </p:cNvPr>
              <p:cNvSpPr txBox="1"/>
              <p:nvPr/>
            </p:nvSpPr>
            <p:spPr>
              <a:xfrm>
                <a:off x="12281270" y="4345287"/>
                <a:ext cx="678391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totype</a:t>
                </a:r>
              </a:p>
            </p:txBody>
          </p:sp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209AAB19-82A1-4568-8756-4CCC6678018D}"/>
                  </a:ext>
                </a:extLst>
              </p:cNvPr>
              <p:cNvSpPr txBox="1"/>
              <p:nvPr/>
            </p:nvSpPr>
            <p:spPr>
              <a:xfrm>
                <a:off x="13048583" y="4345287"/>
                <a:ext cx="736099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ction</a:t>
                </a: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0D769C41-0E89-4F8F-A672-807C3EBFDC21}"/>
                  </a:ext>
                </a:extLst>
              </p:cNvPr>
              <p:cNvSpPr/>
              <p:nvPr/>
            </p:nvSpPr>
            <p:spPr>
              <a:xfrm>
                <a:off x="11517858" y="3797231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6695714-7248-426F-8420-60E3A951A0C7}"/>
                  </a:ext>
                </a:extLst>
              </p:cNvPr>
              <p:cNvSpPr/>
              <p:nvPr/>
            </p:nvSpPr>
            <p:spPr>
              <a:xfrm>
                <a:off x="11412902" y="3568062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CB017B5A-478A-40EA-BC34-41C1BEEE5185}"/>
                  </a:ext>
                </a:extLst>
              </p:cNvPr>
              <p:cNvSpPr/>
              <p:nvPr/>
            </p:nvSpPr>
            <p:spPr>
              <a:xfrm>
                <a:off x="12418087" y="3181899"/>
                <a:ext cx="319577" cy="31957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C3DBADB6-CD2C-4143-8920-3C5D9E4F87C1}"/>
                  </a:ext>
                </a:extLst>
              </p:cNvPr>
              <p:cNvSpPr/>
              <p:nvPr/>
            </p:nvSpPr>
            <p:spPr>
              <a:xfrm>
                <a:off x="13184688" y="2571783"/>
                <a:ext cx="463887" cy="46388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622D600D-364A-48AA-8461-985677860C5D}"/>
                  </a:ext>
                </a:extLst>
              </p:cNvPr>
              <p:cNvSpPr/>
              <p:nvPr/>
            </p:nvSpPr>
            <p:spPr>
              <a:xfrm>
                <a:off x="11612899" y="3596350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C1DABF02-CD20-42E1-B3DC-C643B7F16688}"/>
                  </a:ext>
                </a:extLst>
              </p:cNvPr>
              <p:cNvSpPr/>
              <p:nvPr/>
            </p:nvSpPr>
            <p:spPr>
              <a:xfrm>
                <a:off x="12249140" y="3353202"/>
                <a:ext cx="261148" cy="261148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BEDD7B7E-58E7-431A-8BD9-7C996DFFA583}"/>
                  </a:ext>
                </a:extLst>
              </p:cNvPr>
              <p:cNvSpPr/>
              <p:nvPr/>
            </p:nvSpPr>
            <p:spPr>
              <a:xfrm>
                <a:off x="10887342" y="4191096"/>
                <a:ext cx="141001" cy="141001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D201924C-7A4B-4F21-8C00-B3A67F4AE38A}"/>
                </a:ext>
              </a:extLst>
            </p:cNvPr>
            <p:cNvGrpSpPr/>
            <p:nvPr/>
          </p:nvGrpSpPr>
          <p:grpSpPr>
            <a:xfrm>
              <a:off x="11191115" y="2601598"/>
              <a:ext cx="2594928" cy="2048480"/>
              <a:chOff x="8406580" y="618359"/>
              <a:chExt cx="1484672" cy="1172025"/>
            </a:xfrm>
          </p:grpSpPr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7AA14C91-9E4C-4288-BD92-080B012824CF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CA511003-AAB9-4B11-91C1-A476991EC7C7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E4E430EE-6748-48AF-B04F-6D6D7971D0FD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211" name="Straight Connector 210">
                  <a:extLst>
                    <a:ext uri="{FF2B5EF4-FFF2-40B4-BE49-F238E27FC236}">
                      <a16:creationId xmlns:a16="http://schemas.microsoft.com/office/drawing/2014/main" id="{5D1194AA-5C54-4F99-B515-1D8603D7AC66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1" name="Straight Connector 240">
                  <a:extLst>
                    <a:ext uri="{FF2B5EF4-FFF2-40B4-BE49-F238E27FC236}">
                      <a16:creationId xmlns:a16="http://schemas.microsoft.com/office/drawing/2014/main" id="{F7E9C9A5-8E45-421A-9C26-BCE47F90174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2" name="Straight Connector 241">
                  <a:extLst>
                    <a:ext uri="{FF2B5EF4-FFF2-40B4-BE49-F238E27FC236}">
                      <a16:creationId xmlns:a16="http://schemas.microsoft.com/office/drawing/2014/main" id="{0CE3476C-D23E-42A4-80B3-AD41F0C582D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E2457F9B-52A9-44E2-8114-911B7D2D5667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0FBCF8CE-153A-4074-94BA-41BB0F08CCE0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F3D248AF-81D1-418C-B122-B47F0746C2DD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F1F27528-7C3C-4485-AB66-E185A5EFE0F4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A6DD9983-9235-412C-B04B-2DFD140B81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AAFF3BF8-7907-4174-8D03-5678C0927B2D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3FDC761D-5B75-4AAB-8B85-D1AEBBAFCBAF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61A9A2BB-EBF1-463C-9B55-1CE04AEE34A8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12D33A4-4D07-4040-B8D1-9823C3F5096F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10B06A2C-8C75-43F5-9797-859DDE104863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EBF7E012-CD9E-4F2C-B026-72EF163336CF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1498D23D-82BC-4BB7-A6D9-39AF09A33F7E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971F778E-3CF6-4582-B960-DD88659F26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21E4D6E7-8D74-4296-B4E9-029BAF4E8E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7C52A45A-6DCC-4D1A-B878-AE6F7635821F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30574FD7-CE47-4907-A603-B9E8AB60CE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7F840802-F695-4385-A8A5-FEFEF5C3D6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6F6E5C85-BDBB-48C7-8C74-76910AE3623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4D016F14-7B95-40C2-8642-5D4BABF59EB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2EAA9CE9-6A1C-46C5-8D66-FA1F32F0E7B2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31EEE3C7-B727-4404-BCDB-95C3C647549F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D2C789F5-157F-4C95-9E6C-518A611D2ACE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44622234-61C3-4537-A100-C6BB27964FEE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185291E8-DAE0-4929-8DAE-D7E2BAEA5A98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ACE459D8-9EB4-47AA-8812-7A46729592BF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E0B0AF30-2C34-444B-AB8E-38AF4648232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0AA21803-A4BB-45FC-9A02-168A474A91C1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A5CD3472-E7BF-4981-A939-4E316E15EE1B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3E64F8F5-D7A4-40E8-AC55-74D1CEF8C919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6324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1_DXC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D9D9D9"/>
      </a:accent3>
      <a:accent4>
        <a:srgbClr val="FFED00"/>
      </a:accent4>
      <a:accent5>
        <a:srgbClr val="64FF00"/>
      </a:accent5>
      <a:accent6>
        <a:srgbClr val="00C9FF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ptimized Speaker Template - TechCom24 2019 - Copy.pptx" id="{3EE38018-928B-41CF-8B11-0FA06723AFDD}" vid="{24D7BD64-ADC4-486E-8977-DB4EB23E36E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620</TotalTime>
  <Words>1376</Words>
  <Application>Microsoft Office PowerPoint</Application>
  <PresentationFormat>Custom</PresentationFormat>
  <Paragraphs>279</Paragraphs>
  <Slides>19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Metric Bold</vt:lpstr>
      <vt:lpstr>Metric Regular</vt:lpstr>
      <vt:lpstr>DXC</vt:lpstr>
      <vt:lpstr>6_HPE_Standard_Metric_16x9_v2</vt:lpstr>
      <vt:lpstr>1_DXC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Client Goals to Outcomes with DXC Digital Explorer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2-26T09:01:51Z</dcterms:modified>
  <cp:category/>
</cp:coreProperties>
</file>